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0B8"/>
    <a:srgbClr val="17A89F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DCF480-4AED-E245-BF8E-17B13AF3DE5D}" v="3" dt="2025-09-23T21:33:43.6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513" autoAdjust="0"/>
    <p:restoredTop sz="94660"/>
  </p:normalViewPr>
  <p:slideViewPr>
    <p:cSldViewPr snapToGrid="0">
      <p:cViewPr>
        <p:scale>
          <a:sx n="149" d="100"/>
          <a:sy n="149" d="100"/>
        </p:scale>
        <p:origin x="2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Ohadi" userId="5897eeda-f271-463e-b88c-eb7854f47227" providerId="ADAL" clId="{00E06227-A555-5338-B0C6-E13E04336137}"/>
    <pc:docChg chg="undo custSel modSld">
      <pc:chgData name="Elizabeth Ohadi" userId="5897eeda-f271-463e-b88c-eb7854f47227" providerId="ADAL" clId="{00E06227-A555-5338-B0C6-E13E04336137}" dt="2025-09-23T21:34:23.508" v="366" actId="14100"/>
      <pc:docMkLst>
        <pc:docMk/>
      </pc:docMkLst>
      <pc:sldChg chg="delSp modSp mod">
        <pc:chgData name="Elizabeth Ohadi" userId="5897eeda-f271-463e-b88c-eb7854f47227" providerId="ADAL" clId="{00E06227-A555-5338-B0C6-E13E04336137}" dt="2025-09-23T21:34:23.508" v="366" actId="14100"/>
        <pc:sldMkLst>
          <pc:docMk/>
          <pc:sldMk cId="471668765" sldId="283"/>
        </pc:sldMkLst>
        <pc:spChg chg="mod">
          <ac:chgData name="Elizabeth Ohadi" userId="5897eeda-f271-463e-b88c-eb7854f47227" providerId="ADAL" clId="{00E06227-A555-5338-B0C6-E13E04336137}" dt="2025-09-23T21:20:17.032" v="4" actId="14100"/>
          <ac:spMkLst>
            <pc:docMk/>
            <pc:sldMk cId="471668765" sldId="283"/>
            <ac:spMk id="2" creationId="{89F47452-90E4-C7F9-0241-B342916167B5}"/>
          </ac:spMkLst>
        </pc:spChg>
        <pc:spChg chg="del">
          <ac:chgData name="Elizabeth Ohadi" userId="5897eeda-f271-463e-b88c-eb7854f47227" providerId="ADAL" clId="{00E06227-A555-5338-B0C6-E13E04336137}" dt="2025-09-23T21:20:05.300" v="2" actId="478"/>
          <ac:spMkLst>
            <pc:docMk/>
            <pc:sldMk cId="471668765" sldId="283"/>
            <ac:spMk id="3" creationId="{DCB1BBD7-6E67-5325-DC53-5CA0DD20BE84}"/>
          </ac:spMkLst>
        </pc:spChg>
        <pc:spChg chg="mod">
          <ac:chgData name="Elizabeth Ohadi" userId="5897eeda-f271-463e-b88c-eb7854f47227" providerId="ADAL" clId="{00E06227-A555-5338-B0C6-E13E04336137}" dt="2025-09-23T21:30:23.927" v="352" actId="1038"/>
          <ac:spMkLst>
            <pc:docMk/>
            <pc:sldMk cId="471668765" sldId="283"/>
            <ac:spMk id="6" creationId="{7699A217-9531-5612-5A5A-CCF36A91AAAD}"/>
          </ac:spMkLst>
        </pc:spChg>
        <pc:spChg chg="mod">
          <ac:chgData name="Elizabeth Ohadi" userId="5897eeda-f271-463e-b88c-eb7854f47227" providerId="ADAL" clId="{00E06227-A555-5338-B0C6-E13E04336137}" dt="2025-09-23T21:29:00.611" v="238" actId="1076"/>
          <ac:spMkLst>
            <pc:docMk/>
            <pc:sldMk cId="471668765" sldId="283"/>
            <ac:spMk id="7" creationId="{E395E9DD-3CA3-F045-9DCB-77E6AAFE6A26}"/>
          </ac:spMkLst>
        </pc:spChg>
        <pc:spChg chg="mod">
          <ac:chgData name="Elizabeth Ohadi" userId="5897eeda-f271-463e-b88c-eb7854f47227" providerId="ADAL" clId="{00E06227-A555-5338-B0C6-E13E04336137}" dt="2025-09-23T21:34:23.508" v="366" actId="14100"/>
          <ac:spMkLst>
            <pc:docMk/>
            <pc:sldMk cId="471668765" sldId="283"/>
            <ac:spMk id="11" creationId="{8E795DCB-740F-F180-24B3-A6A5EAAADFAE}"/>
          </ac:spMkLst>
        </pc:spChg>
        <pc:graphicFrameChg chg="mod modGraphic">
          <ac:chgData name="Elizabeth Ohadi" userId="5897eeda-f271-463e-b88c-eb7854f47227" providerId="ADAL" clId="{00E06227-A555-5338-B0C6-E13E04336137}" dt="2025-09-23T21:28:42.377" v="236" actId="14100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29:13.924" v="245" actId="1038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34:03.492" v="364" actId="14100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Elizabeth Ohadi" userId="5897eeda-f271-463e-b88c-eb7854f47227" providerId="ADAL" clId="{00E06227-A555-5338-B0C6-E13E04336137}" dt="2025-09-23T21:28:19.517" v="231" actId="1036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mod">
          <ac:chgData name="Elizabeth Ohadi" userId="5897eeda-f271-463e-b88c-eb7854f47227" providerId="ADAL" clId="{00E06227-A555-5338-B0C6-E13E04336137}" dt="2025-09-23T21:30:19.326" v="336" actId="1076"/>
          <ac:picMkLst>
            <pc:docMk/>
            <pc:sldMk cId="471668765" sldId="283"/>
            <ac:picMk id="4" creationId="{41649058-F734-4E05-563D-DE75AF465106}"/>
          </ac:picMkLst>
        </pc:picChg>
        <pc:picChg chg="mod">
          <ac:chgData name="Elizabeth Ohadi" userId="5897eeda-f271-463e-b88c-eb7854f47227" providerId="ADAL" clId="{00E06227-A555-5338-B0C6-E13E04336137}" dt="2025-09-23T21:34:11.692" v="365" actId="14100"/>
          <ac:picMkLst>
            <pc:docMk/>
            <pc:sldMk cId="471668765" sldId="283"/>
            <ac:picMk id="10" creationId="{6FC48443-91D4-749E-283F-883DB11B9399}"/>
          </ac:picMkLst>
        </pc:picChg>
      </pc:sldChg>
    </pc:docChg>
  </pc:docChgLst>
  <pc:docChgLst>
    <pc:chgData name="Ivdity Chikovani" userId="88c3af89-cfad-4844-9d52-51bd03c65758" providerId="ADAL" clId="{289F00C4-9F9E-540A-828A-CB0EB7E5AAA4}"/>
    <pc:docChg chg="undo redo custSel modSld">
      <pc:chgData name="Ivdity Chikovani" userId="88c3af89-cfad-4844-9d52-51bd03c65758" providerId="ADAL" clId="{289F00C4-9F9E-540A-828A-CB0EB7E5AAA4}" dt="2025-09-22T14:15:57.980" v="1792" actId="20578"/>
      <pc:docMkLst>
        <pc:docMk/>
      </pc:docMkLst>
      <pc:sldChg chg="addSp modSp mod">
        <pc:chgData name="Ivdity Chikovani" userId="88c3af89-cfad-4844-9d52-51bd03c65758" providerId="ADAL" clId="{289F00C4-9F9E-540A-828A-CB0EB7E5AAA4}" dt="2025-09-22T14:15:57.980" v="1792" actId="20578"/>
        <pc:sldMkLst>
          <pc:docMk/>
          <pc:sldMk cId="471668765" sldId="283"/>
        </pc:sldMkLst>
        <pc:spChg chg="add mod">
          <ac:chgData name="Ivdity Chikovani" userId="88c3af89-cfad-4844-9d52-51bd03c65758" providerId="ADAL" clId="{289F00C4-9F9E-540A-828A-CB0EB7E5AAA4}" dt="2025-09-22T09:56:53.319" v="1301" actId="1076"/>
          <ac:spMkLst>
            <pc:docMk/>
            <pc:sldMk cId="471668765" sldId="283"/>
            <ac:spMk id="6" creationId="{7699A217-9531-5612-5A5A-CCF36A91AAAD}"/>
          </ac:spMkLst>
        </pc:spChg>
        <pc:spChg chg="mod">
          <ac:chgData name="Ivdity Chikovani" userId="88c3af89-cfad-4844-9d52-51bd03c65758" providerId="ADAL" clId="{289F00C4-9F9E-540A-828A-CB0EB7E5AAA4}" dt="2025-09-22T14:15:57.980" v="1792" actId="20578"/>
          <ac:spMkLst>
            <pc:docMk/>
            <pc:sldMk cId="471668765" sldId="283"/>
            <ac:spMk id="7" creationId="{E395E9DD-3CA3-F045-9DCB-77E6AAFE6A26}"/>
          </ac:spMkLst>
        </pc:spChg>
        <pc:graphicFrameChg chg="mod modGraphic">
          <ac:chgData name="Ivdity Chikovani" userId="88c3af89-cfad-4844-9d52-51bd03c65758" providerId="ADAL" clId="{289F00C4-9F9E-540A-828A-CB0EB7E5AAA4}" dt="2025-09-22T13:14:33.412" v="1640" actId="179"/>
          <ac:graphicFrameMkLst>
            <pc:docMk/>
            <pc:sldMk cId="471668765" sldId="283"/>
            <ac:graphicFrameMk id="9" creationId="{C9BDD36C-6B0D-7E9D-E2FF-6472595E72FB}"/>
          </ac:graphicFrameMkLst>
        </pc:graphicFrameChg>
        <pc:graphicFrameChg chg="mod modGraphic">
          <ac:chgData name="Ivdity Chikovani" userId="88c3af89-cfad-4844-9d52-51bd03c65758" providerId="ADAL" clId="{289F00C4-9F9E-540A-828A-CB0EB7E5AAA4}" dt="2025-09-22T13:12:13.165" v="1623" actId="14100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 modGraphic">
          <ac:chgData name="Ivdity Chikovani" userId="88c3af89-cfad-4844-9d52-51bd03c65758" providerId="ADAL" clId="{289F00C4-9F9E-540A-828A-CB0EB7E5AAA4}" dt="2025-09-22T13:32:22.363" v="1750" actId="20577"/>
          <ac:graphicFrameMkLst>
            <pc:docMk/>
            <pc:sldMk cId="471668765" sldId="283"/>
            <ac:graphicFrameMk id="15" creationId="{A908EED0-952C-4F37-8CE3-BF6C654D6CE6}"/>
          </ac:graphicFrameMkLst>
        </pc:graphicFrameChg>
        <pc:graphicFrameChg chg="mod modGraphic">
          <ac:chgData name="Ivdity Chikovani" userId="88c3af89-cfad-4844-9d52-51bd03c65758" providerId="ADAL" clId="{289F00C4-9F9E-540A-828A-CB0EB7E5AAA4}" dt="2025-09-22T13:55:51.005" v="1791" actId="20577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add mod">
          <ac:chgData name="Ivdity Chikovani" userId="88c3af89-cfad-4844-9d52-51bd03c65758" providerId="ADAL" clId="{289F00C4-9F9E-540A-828A-CB0EB7E5AAA4}" dt="2025-09-22T09:55:18.320" v="1215" actId="14100"/>
          <ac:picMkLst>
            <pc:docMk/>
            <pc:sldMk cId="471668765" sldId="283"/>
            <ac:picMk id="4" creationId="{41649058-F734-4E05-563D-DE75AF46510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3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32774" y="1036941"/>
            <a:ext cx="9085825" cy="535974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381" y="4994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rgbClr val="1070B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eorgi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070B8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Sustaining and Strengthening Immunization Coverage 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in Middle-Income </a:t>
            </a:r>
            <a:r>
              <a:rPr lang="en-US" sz="1200" b="1" dirty="0">
                <a:solidFill>
                  <a:srgbClr val="31323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ount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Tashkent, Uzbekistan, 07-09 October 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1" y="6384597"/>
            <a:ext cx="9185835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61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404510"/>
            <a:ext cx="1623729" cy="453134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08785"/>
              </p:ext>
            </p:extLst>
          </p:nvPr>
        </p:nvGraphicFramePr>
        <p:xfrm>
          <a:off x="4084889" y="1049596"/>
          <a:ext cx="4990988" cy="2278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8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05167">
                <a:tc>
                  <a:txBody>
                    <a:bodyPr/>
                    <a:lstStyle/>
                    <a:p>
                      <a:pPr algn="ctr"/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drivers of persistent coverage challenges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738814">
                <a:tc>
                  <a:txBody>
                    <a:bodyPr/>
                    <a:lstStyle/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te registration of children at urban PHC, leading to late initiation and delayed vaccination (root causes: no patronage system, no urban geographical catchment areas, Electronic Information systems interoperability issues leading to information gap on newborns in catchment area)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ivate Insurance liability (child supervision responsibilities incl. </a:t>
                      </a:r>
                      <a:r>
                        <a:rPr lang="en-GB" sz="95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mm</a:t>
                      </a: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) &amp; data sharing issues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or linkages across different state-funded schemes leading to uncertainty on target population at facility level</a:t>
                      </a: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Inadequate performance feedback from public health to PHC and from PHC management to health care workers</a:t>
                      </a:r>
                      <a:endParaRPr lang="ru-RU" sz="9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139700" marR="0" lvl="0" indent="-139700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ow capacity of PHC doctors, nurses in effective immunization communication</a:t>
                      </a:r>
                      <a:r>
                        <a:rPr lang="ka-GE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</a:t>
                      </a:r>
                      <a:endParaRPr lang="en-US" sz="95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139249"/>
              </p:ext>
            </p:extLst>
          </p:nvPr>
        </p:nvGraphicFramePr>
        <p:xfrm>
          <a:off x="4093435" y="3403442"/>
          <a:ext cx="4990987" cy="1299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7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88624">
                <a:tc>
                  <a:txBody>
                    <a:bodyPr/>
                    <a:lstStyle/>
                    <a:p>
                      <a:pPr algn="ctr"/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iority needs to optimize coverage (as of 2026)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000561">
                <a:tc>
                  <a:txBody>
                    <a:bodyPr/>
                    <a:lstStyle/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Enforced policies ensuring newborns timely registration at PHC for proactive actions</a:t>
                      </a:r>
                    </a:p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EIR modification</a:t>
                      </a:r>
                      <a:r>
                        <a:rPr lang="ka-GE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 (</a:t>
                      </a: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incl. automatic SMS notifications), Improving linkages between electronic systems, expanding EIR access to private practitioners </a:t>
                      </a:r>
                    </a:p>
                    <a:p>
                      <a:pPr marL="93663" indent="-93663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Policies to ensure private insurance takes responsibilities on child supervision and shares data on covered children population lists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682419"/>
              </p:ext>
            </p:extLst>
          </p:nvPr>
        </p:nvGraphicFramePr>
        <p:xfrm>
          <a:off x="59578" y="3624082"/>
          <a:ext cx="3949531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9531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proaches implement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854200">
                <a:tc>
                  <a:txBody>
                    <a:bodyPr/>
                    <a:lstStyle/>
                    <a:p>
                      <a:pPr marL="49213" indent="-42863"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Government resolution (2022) obliging PHC to register newborn within 7 days after birth. Government resolution (2025) introducing performance indicators linked to bonus payments (including MMR1 coverage) from 2026.</a:t>
                      </a:r>
                    </a:p>
                    <a:p>
                      <a:pPr marL="49213" indent="-42863"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9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mprovement plans developed based on several studies 2023-25: 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)Identifying un &amp; under-vaccinated children &amp; developing </a:t>
                      </a:r>
                      <a:r>
                        <a:rPr lang="en-US" sz="85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icroplans</a:t>
                      </a:r>
                      <a:r>
                        <a:rPr lang="en-US" sz="85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in the regions of Georgia (2023-24, WHO); 2) JEE of IHR core capacities (2024, CDC,WHO); 3) Rota &amp; PCV coverage evaluation (2024,WHO); 4) Coverage and Equity assessment with Root Cause Analysis of Backsliding and Zero Doses in 3 districts (2024,UNICEF,CIF); 5) Qual. study to inform routine vaccination interventions (2023, WHO); </a:t>
                      </a:r>
                    </a:p>
                    <a:p>
                      <a:pPr marL="49213" marR="0" lvl="0" indent="-42863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Follow-up actions</a:t>
                      </a:r>
                      <a:r>
                        <a:rPr lang="en-US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: </a:t>
                      </a:r>
                      <a:r>
                        <a:rPr lang="en-GB" sz="8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1) Monitoring impact of interventions to address immunization inequities (2025, WHO); 2) Addressing Vaccination Backsliding in Rustavi, Gori, and Marneuli (2025, UNICEF, Caritas Czech Republic, Gov. of Korea</a:t>
                      </a: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02023"/>
              </p:ext>
            </p:extLst>
          </p:nvPr>
        </p:nvGraphicFramePr>
        <p:xfrm>
          <a:off x="4086056" y="4794465"/>
          <a:ext cx="4990986" cy="1514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0986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205164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ccesses and lessons learned</a:t>
                      </a: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27783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950" i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Ongoing activities: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Targeted catch-up vaccinations among underserved population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Online meetings with public health centers regarding immunization program challenges</a:t>
                      </a:r>
                    </a:p>
                    <a:p>
                      <a:pPr marL="136525" marR="0" lvl="0" indent="-136525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Immunization program monitoring in the selected districts</a:t>
                      </a:r>
                    </a:p>
                    <a:p>
                      <a:pPr marL="136525" marR="0" lvl="0" indent="-136525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Medical personnel capacity building (trainings, job-aids)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95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Dissemination of educational video and other materials in health facilities                                                  to raise public awareness</a:t>
                      </a:r>
                      <a:r>
                        <a:rPr lang="en-GB" sz="950" i="1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                             </a:t>
                      </a:r>
                      <a:endParaRPr lang="en-GB" sz="950" i="1" kern="1200" dirty="0">
                        <a:solidFill>
                          <a:srgbClr val="FF0000"/>
                        </a:solidFill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49772DD-C6F2-5473-7F20-E852607B7D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015" y="50747"/>
            <a:ext cx="1282073" cy="8488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C48443-91D4-749E-283F-883DB11B93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21" y="1052537"/>
            <a:ext cx="3949531" cy="25193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1649058-F734-4E05-563D-DE75AF465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85569" y="6151848"/>
            <a:ext cx="676110" cy="6726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99A217-9531-5612-5A5A-CCF36A91AAAD}"/>
              </a:ext>
            </a:extLst>
          </p:cNvPr>
          <p:cNvSpPr txBox="1"/>
          <p:nvPr/>
        </p:nvSpPr>
        <p:spPr>
          <a:xfrm>
            <a:off x="5123079" y="6508200"/>
            <a:ext cx="10567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i="1" dirty="0">
                <a:solidFill>
                  <a:srgbClr val="1070B8"/>
                </a:solidFill>
              </a:rPr>
              <a:t>L</a:t>
            </a:r>
            <a:r>
              <a:rPr lang="en-GE" sz="600" i="1" dirty="0">
                <a:solidFill>
                  <a:srgbClr val="1070B8"/>
                </a:solidFill>
              </a:rPr>
              <a:t>ink to educational video</a:t>
            </a:r>
          </a:p>
        </p:txBody>
      </p:sp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EF60BD8-D668-47DF-AE94-9D3E1BA7162F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a6b7a42b-578f-4fd1-9d67-5a3066b9c5a5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bcb27da4-2e3e-416a-a040-6d0b2e3a2039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523</TotalTime>
  <Words>420</Words>
  <Application>Microsoft Macintosh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Elizabeth Ohadi</cp:lastModifiedBy>
  <cp:revision>64</cp:revision>
  <dcterms:created xsi:type="dcterms:W3CDTF">2024-04-05T17:45:07Z</dcterms:created>
  <dcterms:modified xsi:type="dcterms:W3CDTF">2025-09-23T21:3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